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media/image32.jpg" ContentType="image/gif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1"/>
  </p:sldMasterIdLst>
  <p:notesMasterIdLst>
    <p:notesMasterId r:id="rId41"/>
  </p:notesMasterIdLst>
  <p:handoutMasterIdLst>
    <p:handoutMasterId r:id="rId42"/>
  </p:handoutMasterIdLst>
  <p:sldIdLst>
    <p:sldId id="307" r:id="rId2"/>
    <p:sldId id="274" r:id="rId3"/>
    <p:sldId id="276" r:id="rId4"/>
    <p:sldId id="279" r:id="rId5"/>
    <p:sldId id="283" r:id="rId6"/>
    <p:sldId id="281" r:id="rId7"/>
    <p:sldId id="285" r:id="rId8"/>
    <p:sldId id="280" r:id="rId9"/>
    <p:sldId id="277" r:id="rId10"/>
    <p:sldId id="284" r:id="rId11"/>
    <p:sldId id="275" r:id="rId12"/>
    <p:sldId id="278" r:id="rId13"/>
    <p:sldId id="282" r:id="rId14"/>
    <p:sldId id="309" r:id="rId15"/>
    <p:sldId id="295" r:id="rId16"/>
    <p:sldId id="286" r:id="rId17"/>
    <p:sldId id="287" r:id="rId18"/>
    <p:sldId id="288" r:id="rId19"/>
    <p:sldId id="289" r:id="rId20"/>
    <p:sldId id="290" r:id="rId21"/>
    <p:sldId id="293" r:id="rId22"/>
    <p:sldId id="291" r:id="rId23"/>
    <p:sldId id="292" r:id="rId24"/>
    <p:sldId id="294" r:id="rId25"/>
    <p:sldId id="296" r:id="rId26"/>
    <p:sldId id="297" r:id="rId27"/>
    <p:sldId id="298" r:id="rId28"/>
    <p:sldId id="299" r:id="rId29"/>
    <p:sldId id="300" r:id="rId30"/>
    <p:sldId id="304" r:id="rId31"/>
    <p:sldId id="305" r:id="rId32"/>
    <p:sldId id="311" r:id="rId33"/>
    <p:sldId id="303" r:id="rId34"/>
    <p:sldId id="302" r:id="rId35"/>
    <p:sldId id="301" r:id="rId36"/>
    <p:sldId id="308" r:id="rId37"/>
    <p:sldId id="312" r:id="rId38"/>
    <p:sldId id="310" r:id="rId39"/>
    <p:sldId id="306" r:id="rId40"/>
  </p:sldIdLst>
  <p:sldSz cx="11522075" cy="6480175"/>
  <p:notesSz cx="6858000" cy="9144000"/>
  <p:custDataLst>
    <p:tags r:id="rId43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1" orient="horz" pos="703" userDrawn="1">
          <p15:clr>
            <a:srgbClr val="A4A3A4"/>
          </p15:clr>
        </p15:guide>
        <p15:guide id="12" orient="horz" pos="3493" userDrawn="1">
          <p15:clr>
            <a:srgbClr val="A4A3A4"/>
          </p15:clr>
        </p15:guide>
        <p15:guide id="13" orient="horz" pos="3719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1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da2" initials="d" lastIdx="6" clrIdx="0"/>
  <p:cmAuthor id="1" name="Dada" initials="DT" lastIdx="20" clrIdx="1"/>
  <p:cmAuthor id="2" name="Dada-Design" initials="D" lastIdx="4" clrIdx="2">
    <p:extLst>
      <p:ext uri="{19B8F6BF-5375-455C-9EA6-DF929625EA0E}">
        <p15:presenceInfo xmlns:p15="http://schemas.microsoft.com/office/powerpoint/2012/main" userId="S-1-5-21-2562659868-2832382953-3754756864-112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FF66"/>
    <a:srgbClr val="E20074"/>
    <a:srgbClr val="E20000"/>
    <a:srgbClr val="992C99"/>
    <a:srgbClr val="4B4B4B"/>
    <a:srgbClr val="C4C4C4"/>
    <a:srgbClr val="00FFFF"/>
    <a:srgbClr val="E1E1E1"/>
    <a:srgbClr val="DEDEDE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897" autoAdjust="0"/>
    <p:restoredTop sz="94620" autoAdjust="0"/>
  </p:normalViewPr>
  <p:slideViewPr>
    <p:cSldViewPr snapToGrid="0" snapToObjects="1">
      <p:cViewPr varScale="1">
        <p:scale>
          <a:sx n="121" d="100"/>
          <a:sy n="121" d="100"/>
        </p:scale>
        <p:origin x="1068" y="96"/>
      </p:cViewPr>
      <p:guideLst>
        <p:guide orient="horz" pos="204"/>
        <p:guide orient="horz" pos="2041"/>
        <p:guide orient="horz" pos="930"/>
        <p:guide orient="horz" pos="3266"/>
        <p:guide orient="horz" pos="703"/>
        <p:guide orient="horz" pos="3493"/>
        <p:guide orient="horz" pos="3719"/>
        <p:guide orient="horz" pos="3878"/>
        <p:guide pos="1939"/>
        <p:guide pos="1847"/>
        <p:guide pos="204"/>
        <p:guide pos="7054"/>
        <p:guide pos="5411"/>
        <p:guide pos="5318"/>
        <p:guide pos="3674"/>
        <p:guide pos="3584"/>
        <p:guide pos="36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45" d="100"/>
          <a:sy n="45" d="100"/>
        </p:scale>
        <p:origin x="-2970" y="-96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handoutMaster" Target="handoutMasters/handoutMaster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gs" Target="tags/tag1.xml"/><Relationship Id="rId4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Nr.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8800" y="371599"/>
            <a:ext cx="5900400" cy="3318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Textmasterformate durch Klicken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31B8DFA5-5297-4A90-A936-B42D90409571}" type="datetimeFigureOut">
              <a:rPr lang="de-DE"/>
              <a:pPr/>
              <a:t>13.06.2017</a:t>
            </a:fld>
            <a:endParaRPr lang="de-DE"/>
          </a:p>
        </p:txBody>
      </p:sp>
      <p:sp>
        <p:nvSpPr>
          <p:cNvPr id="210946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79425" y="371475"/>
            <a:ext cx="5899150" cy="3319463"/>
          </a:xfrm>
          <a:noFill/>
          <a:ln>
            <a:miter lim="800000"/>
            <a:headEnd/>
            <a:tailEnd/>
          </a:ln>
        </p:spPr>
      </p:sp>
      <p:sp>
        <p:nvSpPr>
          <p:cNvPr id="21094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7779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4.emf"/><Relationship Id="rId5" Type="http://schemas.openxmlformats.org/officeDocument/2006/relationships/tags" Target="../tags/tag8.xml"/><Relationship Id="rId10" Type="http://schemas.openxmlformats.org/officeDocument/2006/relationships/image" Target="../media/image3.emf"/><Relationship Id="rId4" Type="http://schemas.openxmlformats.org/officeDocument/2006/relationships/tags" Target="../tags/tag7.xml"/><Relationship Id="rId9" Type="http://schemas.openxmlformats.org/officeDocument/2006/relationships/image" Target="../media/image6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11589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11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231" y="1350000"/>
            <a:ext cx="10872000" cy="219283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(Ultra)</a:t>
            </a:r>
            <a:br>
              <a:rPr lang="en-US" dirty="0"/>
            </a:br>
            <a:r>
              <a:rPr lang="en-US" sz="4800" dirty="0">
                <a:latin typeface="TeleGrotesk Headline" pitchFamily="2" charset="0"/>
              </a:rPr>
              <a:t>Maximum of 3 lines</a:t>
            </a:r>
            <a:br>
              <a:rPr lang="en-US" sz="4800" dirty="0">
                <a:latin typeface="TeleGrotesk Headline" pitchFamily="2" charset="0"/>
              </a:rPr>
            </a:br>
            <a:r>
              <a:rPr lang="en-US" sz="4800" dirty="0">
                <a:latin typeface="TeleGrotesk Headline" pitchFamily="2" charset="0"/>
              </a:rPr>
              <a:t>40 (48) 66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6229" y="3861246"/>
            <a:ext cx="10872000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Sub-heading: </a:t>
            </a:r>
            <a:r>
              <a:rPr lang="en-US" dirty="0" err="1"/>
              <a:t>TeleGrotesk</a:t>
            </a:r>
            <a:r>
              <a:rPr lang="en-US" dirty="0"/>
              <a:t> Normal, 24 pt</a:t>
            </a:r>
          </a:p>
        </p:txBody>
      </p:sp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/>
          <a:srcRect r="60924"/>
          <a:stretch>
            <a:fillRect/>
          </a:stretch>
        </p:blipFill>
        <p:spPr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/>
          <a:srcRect l="41258"/>
          <a:stretch>
            <a:fillRect/>
          </a:stretch>
        </p:blipFill>
        <p:spPr>
          <a:xfrm>
            <a:off x="9229344" y="5655600"/>
            <a:ext cx="1968882" cy="500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824006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16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120"/>
            <a:ext cx="11522072" cy="6478766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80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19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hidden">
          <a:xfrm>
            <a:off x="1" y="120"/>
            <a:ext cx="11522069" cy="6478765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484216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61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1524578" cy="6480175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3413801"/>
            <a:ext cx="10872000" cy="2131337"/>
          </a:xfrm>
        </p:spPr>
        <p:txBody>
          <a:bodyPr anchor="b" anchorCtr="0"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48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824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85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214540"/>
              </p:ext>
            </p:extLst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83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68763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594423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32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32625" y="1476374"/>
            <a:ext cx="5365600" cy="4068763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601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23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5518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26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021355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3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6503710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6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475" y="1476374"/>
            <a:ext cx="5364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26624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64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8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4800"/>
              <a:t>TELEGROTESK Headline (ULTRA)</a:t>
            </a:r>
            <a:br>
              <a:rPr lang="en-US" sz="4800"/>
            </a:br>
            <a:r>
              <a:rPr lang="en-US" sz="4800">
                <a:latin typeface="TeleGrotesk Headline" pitchFamily="2" charset="0"/>
              </a:rPr>
              <a:t>Maximum of 3 lines</a:t>
            </a:r>
            <a:br>
              <a:rPr lang="en-US" sz="4800">
                <a:latin typeface="TeleGrotesk Headline" pitchFamily="2" charset="0"/>
              </a:rPr>
            </a:br>
            <a:r>
              <a:rPr lang="en-US" sz="4800">
                <a:latin typeface="TeleGrotesk Headline" pitchFamily="2" charset="0"/>
              </a:rPr>
              <a:t>40 (48) 60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/>
          <a:srcRect r="60924"/>
          <a:stretch>
            <a:fillRect/>
          </a:stretch>
        </p:blipFill>
        <p:spPr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/>
          <a:srcRect l="43441"/>
          <a:stretch>
            <a:fillRect/>
          </a:stretch>
        </p:blipFill>
        <p:spPr>
          <a:xfrm>
            <a:off x="9302496" y="5655600"/>
            <a:ext cx="1895731" cy="5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0462381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6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3528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68475" y="1476374"/>
            <a:ext cx="3528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996237" y="1476375"/>
            <a:ext cx="3528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4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063335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9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316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078158" y="1476375"/>
            <a:ext cx="2610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475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15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787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63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49" y="1476374"/>
            <a:ext cx="5364787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0" y="1476374"/>
            <a:ext cx="5364787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087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66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3528000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96162" y="1476374"/>
            <a:ext cx="3528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68475" y="1476374"/>
            <a:ext cx="3528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/>
              <a:t>Quotations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9776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68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2610000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078014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1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638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baseline="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006018"/>
              </p:ext>
            </p:extLst>
          </p:nvPr>
        </p:nvGraphicFramePr>
        <p:xfrm>
          <a:off x="1587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46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Grafik 36" descr="TKOM_39L_Grillen_7475.jpg"/>
          <p:cNvPicPr>
            <a:picLocks noChangeAspect="1"/>
          </p:cNvPicPr>
          <p:nvPr userDrawn="1"/>
        </p:nvPicPr>
        <p:blipFill>
          <a:blip r:embed="rId9"/>
          <a:srcRect b="15715"/>
          <a:stretch>
            <a:fillRect/>
          </a:stretch>
        </p:blipFill>
        <p:spPr>
          <a:xfrm>
            <a:off x="0" y="0"/>
            <a:ext cx="11520000" cy="6480175"/>
          </a:xfrm>
          <a:prstGeom prst="rect">
            <a:avLst/>
          </a:prstGeom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24000" y="2949576"/>
            <a:ext cx="10872956" cy="3206750"/>
            <a:chOff x="207" y="1858"/>
            <a:chExt cx="5365" cy="2020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07" y="2527"/>
              <a:ext cx="5365" cy="135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07" y="1858"/>
              <a:ext cx="5157" cy="2020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10" y="2017"/>
              <a:ext cx="4873" cy="1861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23851" y="3200400"/>
            <a:ext cx="9886690" cy="1107996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 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52" y="4536000"/>
            <a:ext cx="9886689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Grafik 37" descr="T_Logo_3c_Slogan_p_INT.emf"/>
          <p:cNvPicPr>
            <a:picLocks noChangeAspect="1"/>
          </p:cNvPicPr>
          <p:nvPr userDrawn="1"/>
        </p:nvPicPr>
        <p:blipFill>
          <a:blip r:embed="rId11"/>
          <a:srcRect r="60924"/>
          <a:stretch>
            <a:fillRect/>
          </a:stretch>
        </p:blipFill>
        <p:spPr>
          <a:xfrm>
            <a:off x="493712" y="5482054"/>
            <a:ext cx="1309728" cy="500400"/>
          </a:xfrm>
          <a:prstGeom prst="rect">
            <a:avLst/>
          </a:prstGeom>
        </p:spPr>
      </p:pic>
      <p:pic>
        <p:nvPicPr>
          <p:cNvPr id="39" name="Grafik 38" descr="T_Logo_3c_Slogan_p_INT.emf"/>
          <p:cNvPicPr>
            <a:picLocks noChangeAspect="1"/>
          </p:cNvPicPr>
          <p:nvPr userDrawn="1"/>
        </p:nvPicPr>
        <p:blipFill>
          <a:blip r:embed="rId11"/>
          <a:srcRect l="41258"/>
          <a:stretch>
            <a:fillRect/>
          </a:stretch>
        </p:blipFill>
        <p:spPr>
          <a:xfrm>
            <a:off x="9053129" y="5482054"/>
            <a:ext cx="1968882" cy="5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2734722"/>
              </p:ext>
            </p:extLst>
          </p:nvPr>
        </p:nvGraphicFramePr>
        <p:xfrm>
          <a:off x="1587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6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Grafik 31" descr="TKOM_39L_Grillen_7475.jpg"/>
          <p:cNvPicPr>
            <a:picLocks noChangeAspect="1"/>
          </p:cNvPicPr>
          <p:nvPr userDrawn="1"/>
        </p:nvPicPr>
        <p:blipFill>
          <a:blip r:embed="rId6"/>
          <a:srcRect b="55841"/>
          <a:stretch>
            <a:fillRect/>
          </a:stretch>
        </p:blipFill>
        <p:spPr>
          <a:xfrm>
            <a:off x="324000" y="323999"/>
            <a:ext cx="10872000" cy="3240000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7" cstate="print"/>
          <a:srcRect r="11" b="-468"/>
          <a:stretch>
            <a:fillRect/>
          </a:stretch>
        </p:blipFill>
        <p:spPr bwMode="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84080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9"/>
          <a:srcRect r="60924"/>
          <a:stretch>
            <a:fillRect/>
          </a:stretch>
        </p:blipFill>
        <p:spPr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4" name="Grafik 33" descr="T_Logo_3c_Slogan_p_INT.emf"/>
          <p:cNvPicPr>
            <a:picLocks noChangeAspect="1"/>
          </p:cNvPicPr>
          <p:nvPr userDrawn="1"/>
        </p:nvPicPr>
        <p:blipFill>
          <a:blip r:embed="rId9"/>
          <a:srcRect l="43441"/>
          <a:stretch>
            <a:fillRect/>
          </a:stretch>
        </p:blipFill>
        <p:spPr>
          <a:xfrm>
            <a:off x="9302496" y="5655600"/>
            <a:ext cx="1895731" cy="500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365371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04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ußzeilenplatzhalter 1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4763" y="5545138"/>
            <a:ext cx="11517312" cy="93503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309165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07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-1" y="703"/>
            <a:ext cx="11522075" cy="6478767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496484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09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-1" y="0"/>
            <a:ext cx="11522075" cy="6480175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25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4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/>
              <a:t>dd.mm.yyyy</a:t>
            </a:r>
            <a:endParaRPr lang="en-US" noProof="0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hidden">
          <a:xfrm>
            <a:off x="1" y="120"/>
            <a:ext cx="11522069" cy="6478764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07549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14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120"/>
            <a:ext cx="11522072" cy="6478767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10433068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664" name="think-cell Folie" r:id="rId28" imgW="360" imgH="360" progId="">
                  <p:embed/>
                </p:oleObj>
              </mc:Choice>
              <mc:Fallback>
                <p:oleObj name="think-cell Folie" r:id="rId28" imgW="360" imgH="360" progId="">
                  <p:embed/>
                  <p:pic>
                    <p:nvPicPr>
                      <p:cNvPr id="0" name="Pictur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4249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7047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  <p:pic>
        <p:nvPicPr>
          <p:cNvPr id="31" name="Grafik 30" descr="T_Logo_3c_Slogan_p_INT.emf"/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324000" y="5911200"/>
            <a:ext cx="2411348" cy="360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711" r:id="rId4"/>
    <p:sldLayoutId id="2147483725" r:id="rId5"/>
    <p:sldLayoutId id="2147483928" r:id="rId6"/>
    <p:sldLayoutId id="2147483926" r:id="rId7"/>
    <p:sldLayoutId id="2147483976" r:id="rId8"/>
    <p:sldLayoutId id="2147483964" r:id="rId9"/>
    <p:sldLayoutId id="2147483965" r:id="rId10"/>
    <p:sldLayoutId id="2147483967" r:id="rId11"/>
    <p:sldLayoutId id="2147483968" r:id="rId12"/>
    <p:sldLayoutId id="2147483972" r:id="rId13"/>
    <p:sldLayoutId id="2147483971" r:id="rId14"/>
    <p:sldLayoutId id="2147483973" r:id="rId15"/>
    <p:sldLayoutId id="2147483716" r:id="rId16"/>
    <p:sldLayoutId id="2147483718" r:id="rId17"/>
    <p:sldLayoutId id="2147483722" r:id="rId18"/>
    <p:sldLayoutId id="2147483723" r:id="rId19"/>
    <p:sldLayoutId id="2147483969" r:id="rId20"/>
    <p:sldLayoutId id="2147483970" r:id="rId21"/>
    <p:sldLayoutId id="2147483930" r:id="rId22"/>
    <p:sldLayoutId id="2147483959" r:id="rId23"/>
    <p:sldLayoutId id="2147483960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93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719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0" orient="horz" pos="703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10" userDrawn="1">
          <p15:clr>
            <a:srgbClr val="F26B43"/>
          </p15:clr>
        </p15:guide>
        <p15:guide id="17" pos="53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1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0711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421" y="1500"/>
          <a:ext cx="15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875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200711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421" y="1500"/>
                        <a:ext cx="15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lvl="0"/>
            <a:r>
              <a:rPr lang="en-US" dirty="0" err="1"/>
              <a:t>Funktionale</a:t>
            </a:r>
            <a:r>
              <a:rPr lang="en-US" dirty="0"/>
              <a:t> </a:t>
            </a:r>
            <a:r>
              <a:rPr lang="en-US" dirty="0" err="1"/>
              <a:t>programmierung</a:t>
            </a:r>
            <a:r>
              <a:rPr lang="en-US" dirty="0"/>
              <a:t> </a:t>
            </a:r>
            <a:r>
              <a:rPr lang="en-US" dirty="0" err="1"/>
              <a:t>mit</a:t>
            </a:r>
            <a:r>
              <a:rPr lang="en-US" dirty="0"/>
              <a:t> </a:t>
            </a:r>
            <a:r>
              <a:rPr lang="en-US" dirty="0" err="1"/>
              <a:t>Vavr</a:t>
            </a:r>
            <a:r>
              <a:rPr lang="en-US" dirty="0"/>
              <a:t> und Resilience4j </a:t>
            </a:r>
            <a:endParaRPr lang="de-DE" dirty="0"/>
          </a:p>
        </p:txBody>
      </p:sp>
      <p:sp>
        <p:nvSpPr>
          <p:cNvPr id="14" name="Untertitel 13"/>
          <p:cNvSpPr>
            <a:spLocks noGrp="1"/>
          </p:cNvSpPr>
          <p:nvPr>
            <p:ph type="subTitle" idx="1"/>
          </p:nvPr>
        </p:nvSpPr>
        <p:spPr>
          <a:xfrm>
            <a:off x="1883137" y="4670488"/>
            <a:ext cx="7169474" cy="384080"/>
          </a:xfrm>
        </p:spPr>
        <p:txBody>
          <a:bodyPr/>
          <a:lstStyle/>
          <a:p>
            <a:r>
              <a:rPr lang="de-DE" dirty="0"/>
              <a:t>Robert Winkler</a:t>
            </a:r>
          </a:p>
        </p:txBody>
      </p:sp>
    </p:spTree>
    <p:extLst>
      <p:ext uri="{BB962C8B-B14F-4D97-AF65-F5344CB8AC3E}">
        <p14:creationId xmlns:p14="http://schemas.microsoft.com/office/powerpoint/2010/main" val="2979903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unktionale PROGRAMMIERUNG mit JAVA 8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0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/>
          <a:srcRect t="16698"/>
          <a:stretch/>
        </p:blipFill>
        <p:spPr>
          <a:xfrm>
            <a:off x="5422741" y="1064741"/>
            <a:ext cx="5591334" cy="3516276"/>
          </a:xfrm>
          <a:prstGeom prst="rect">
            <a:avLst/>
          </a:prstGeom>
        </p:spPr>
      </p:pic>
      <p:sp>
        <p:nvSpPr>
          <p:cNvPr id="11" name="Freeform 8"/>
          <p:cNvSpPr>
            <a:spLocks/>
          </p:cNvSpPr>
          <p:nvPr/>
        </p:nvSpPr>
        <p:spPr bwMode="gray">
          <a:xfrm>
            <a:off x="238125" y="1064741"/>
            <a:ext cx="5429249" cy="448833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Java Collections API 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add</a:t>
            </a:r>
            <a:r>
              <a:rPr lang="de-DE" sz="2400" dirty="0"/>
              <a:t>(), </a:t>
            </a:r>
            <a:r>
              <a:rPr lang="de-DE" sz="2400" dirty="0" err="1"/>
              <a:t>remove</a:t>
            </a:r>
            <a:r>
              <a:rPr lang="de-DE" sz="2400" dirty="0"/>
              <a:t>(), </a:t>
            </a:r>
            <a:r>
              <a:rPr lang="de-DE" sz="2400" dirty="0" err="1"/>
              <a:t>clear</a:t>
            </a:r>
            <a:r>
              <a:rPr lang="de-DE" sz="2400" dirty="0"/>
              <a:t>(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Nur drei neue Datenstrukturen (Optional, Stream, </a:t>
            </a:r>
            <a:r>
              <a:rPr lang="de-DE" sz="2400" dirty="0" err="1"/>
              <a:t>CompletableFuture</a:t>
            </a:r>
            <a:r>
              <a:rPr lang="de-DE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Nur funktionale Schnittstellen mit bis zu zwei Parametern (</a:t>
            </a:r>
            <a:r>
              <a:rPr lang="de-DE" sz="2400" dirty="0" err="1"/>
              <a:t>Function</a:t>
            </a:r>
            <a:r>
              <a:rPr lang="de-DE" sz="2400" dirty="0"/>
              <a:t>, </a:t>
            </a:r>
            <a:r>
              <a:rPr lang="de-DE" sz="2400" dirty="0" err="1"/>
              <a:t>BiFunction</a:t>
            </a:r>
            <a:r>
              <a:rPr lang="de-DE" sz="2400" dirty="0"/>
              <a:t>, …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Checked</a:t>
            </a:r>
            <a:r>
              <a:rPr lang="de-DE" sz="2400" dirty="0"/>
              <a:t> </a:t>
            </a:r>
            <a:r>
              <a:rPr lang="de-DE" sz="2400" dirty="0" err="1"/>
              <a:t>exceptions</a:t>
            </a:r>
            <a:r>
              <a:rPr lang="de-DE" sz="2400" dirty="0"/>
              <a:t> in Funktion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Umständliche Collection-API: </a:t>
            </a:r>
            <a:r>
              <a:rPr lang="de-DE" dirty="0" err="1"/>
              <a:t>list.stream</a:t>
            </a:r>
            <a:r>
              <a:rPr lang="de-DE" dirty="0"/>
              <a:t>().</a:t>
            </a:r>
            <a:r>
              <a:rPr lang="de-DE" dirty="0" err="1"/>
              <a:t>map</a:t>
            </a:r>
            <a:r>
              <a:rPr lang="de-DE" dirty="0"/>
              <a:t>(...).</a:t>
            </a:r>
            <a:r>
              <a:rPr lang="de-DE" dirty="0" err="1"/>
              <a:t>collect</a:t>
            </a:r>
            <a:r>
              <a:rPr lang="de-DE" dirty="0"/>
              <a:t>(</a:t>
            </a:r>
            <a:r>
              <a:rPr lang="de-DE" dirty="0" err="1"/>
              <a:t>toList</a:t>
            </a:r>
            <a:r>
              <a:rPr lang="de-DE" dirty="0"/>
              <a:t>()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75219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JAVASLANG IST nun VAV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1</a:t>
            </a:fld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912" y="887413"/>
            <a:ext cx="5830888" cy="1947425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/>
          <a:srcRect l="1" r="57406"/>
          <a:stretch/>
        </p:blipFill>
        <p:spPr>
          <a:xfrm rot="10800000">
            <a:off x="7886699" y="2573338"/>
            <a:ext cx="2743199" cy="2151022"/>
          </a:xfrm>
          <a:prstGeom prst="rect">
            <a:avLst/>
          </a:prstGeom>
        </p:spPr>
      </p:pic>
      <p:sp>
        <p:nvSpPr>
          <p:cNvPr id="5" name="Pfeil: nach rechts 4"/>
          <p:cNvSpPr/>
          <p:nvPr/>
        </p:nvSpPr>
        <p:spPr bwMode="gray">
          <a:xfrm rot="1982941">
            <a:off x="4540184" y="2740997"/>
            <a:ext cx="935984" cy="649288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2"/>
          <a:srcRect l="42297"/>
          <a:stretch/>
        </p:blipFill>
        <p:spPr>
          <a:xfrm rot="8605569">
            <a:off x="3895399" y="3433727"/>
            <a:ext cx="3716338" cy="2151022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 bwMode="gray">
          <a:xfrm>
            <a:off x="7600950" y="2982099"/>
            <a:ext cx="2914650" cy="1333500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0498" y="756000"/>
            <a:ext cx="2457450" cy="186690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8942" y="1488436"/>
            <a:ext cx="2253712" cy="7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27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VAVR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2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Eine Bibliothek die persistente Datenstrukturen und algebraische Datentypen für Java8 bereitstell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Orientiert sich bei der Namensgebung an Scala</a:t>
            </a:r>
            <a:endParaRPr lang="en-US" sz="24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500" y="2693616"/>
            <a:ext cx="10696575" cy="2517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356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ersistente Datenstruktur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3</a:t>
            </a:fld>
            <a:endParaRPr lang="en-US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24000" y="1770575"/>
            <a:ext cx="10944075" cy="378565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&lt;String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lterOrange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List&lt;String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rgbClr val="A9B7C6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::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Upper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	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uit.equal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altLang="de-DE" sz="2000" dirty="0">
              <a:solidFill>
                <a:srgbClr val="A9B7C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String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</a:t>
            </a: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mon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ava.util.List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String&gt; oranges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Oranges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JavaList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20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ava.util.List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Arrays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.</a:t>
            </a: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List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emon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String&gt; oranges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Oranges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</a:t>
            </a: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All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uits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Freeform 8"/>
          <p:cNvSpPr>
            <a:spLocks/>
          </p:cNvSpPr>
          <p:nvPr/>
        </p:nvSpPr>
        <p:spPr bwMode="gray">
          <a:xfrm>
            <a:off x="123826" y="984190"/>
            <a:ext cx="10182224" cy="712083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Die Datenstrukturen können beliebig konvertiert werden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99793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ersistente Datenstruktur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4</a:t>
            </a:fld>
            <a:endParaRPr lang="en-US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94625" y="912954"/>
            <a:ext cx="11102025" cy="4801314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Java9 Factory Methode zur Initialisierung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rgbClr val="A9B7C6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ashMap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.50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emo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Option ist in die API integriert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&lt;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eachPric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s.ge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each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dPrice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s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rgbClr val="A9B7C6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Value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.multipl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orange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dPrice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duc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taryAmou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c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ne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1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EUR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9792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ersistente Datenstruktur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5</a:t>
            </a:fld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4539" y="854074"/>
            <a:ext cx="4432840" cy="4809601"/>
          </a:xfrm>
          <a:prstGeom prst="rect">
            <a:avLst/>
          </a:prstGeom>
        </p:spPr>
      </p:pic>
      <p:sp>
        <p:nvSpPr>
          <p:cNvPr id="9" name="Sprechblase: oval 8"/>
          <p:cNvSpPr/>
          <p:nvPr/>
        </p:nvSpPr>
        <p:spPr bwMode="gray">
          <a:xfrm>
            <a:off x="6817917" y="1013592"/>
            <a:ext cx="3800159" cy="1373362"/>
          </a:xfrm>
          <a:prstGeom prst="wedgeEllipseCallou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7" name="Freeform 8"/>
          <p:cNvSpPr>
            <a:spLocks/>
          </p:cNvSpPr>
          <p:nvPr/>
        </p:nvSpPr>
        <p:spPr bwMode="gray">
          <a:xfrm>
            <a:off x="7445031" y="1200916"/>
            <a:ext cx="2323771" cy="997576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sz="6600" dirty="0"/>
              <a:t>OMG!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7500" y="2706196"/>
            <a:ext cx="1771650" cy="2581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314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</a:t>
            </a:r>
            <a:r>
              <a:rPr lang="de-DE" dirty="0" err="1"/>
              <a:t>Currying</a:t>
            </a: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6</a:t>
            </a:fld>
            <a:endParaRPr lang="en-US" dirty="0"/>
          </a:p>
        </p:txBody>
      </p:sp>
      <p:sp>
        <p:nvSpPr>
          <p:cNvPr id="9" name="Freeform 8"/>
          <p:cNvSpPr>
            <a:spLocks/>
          </p:cNvSpPr>
          <p:nvPr/>
        </p:nvSpPr>
        <p:spPr bwMode="gray">
          <a:xfrm>
            <a:off x="66675" y="756000"/>
            <a:ext cx="9677399" cy="27206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laubt die partielle Anwendung einer Funktion durch das Umwandeln einer Funktion mit N Argumenten in eine modifizierte Funktion mit N-1 Argument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Funktion mit zwei Argumenten f: A1 x A2 → B wird in eine modifizierte Funktion mit einem Argument f’: A1 → (A2 → B) umgewandel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as Festsetzen von einem oder mehreren Parametern erfolgt von links nach rechts</a:t>
            </a:r>
            <a:endParaRPr lang="en-US" sz="2400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44962" y="3165017"/>
            <a:ext cx="10125075" cy="163121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m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(a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) -&gt; a + b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Parameter a wird mit 2 festgesetzt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add2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m.curri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add2.apply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6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6339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</a:t>
            </a:r>
            <a:r>
              <a:rPr lang="de-DE" dirty="0" err="1"/>
              <a:t>Memoizatio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7</a:t>
            </a:fld>
            <a:endParaRPr lang="en-US" dirty="0"/>
          </a:p>
        </p:txBody>
      </p:sp>
      <p:sp>
        <p:nvSpPr>
          <p:cNvPr id="9" name="Freeform 8"/>
          <p:cNvSpPr>
            <a:spLocks/>
          </p:cNvSpPr>
          <p:nvPr/>
        </p:nvSpPr>
        <p:spPr bwMode="gray">
          <a:xfrm>
            <a:off x="66675" y="1029698"/>
            <a:ext cx="9677399" cy="27206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möglicht, dass eine Methode nur beim ersten Aufruf ausgeführt wird und bei weiteren Aufrufen der gespeicherte Wert zurückgeliefert wird</a:t>
            </a:r>
            <a:endParaRPr lang="en-US" sz="2400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309042" y="2389478"/>
            <a:ext cx="10797108" cy="193899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0&lt;Double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ashCach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Function0.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h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moiz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Value1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ashCache.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Value2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ashCache.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randomValue1)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randomValue2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8775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Lifting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8</a:t>
            </a:fld>
            <a:endParaRPr lang="en-US" dirty="0"/>
          </a:p>
        </p:txBody>
      </p:sp>
      <p:sp>
        <p:nvSpPr>
          <p:cNvPr id="9" name="Freeform 8"/>
          <p:cNvSpPr>
            <a:spLocks/>
          </p:cNvSpPr>
          <p:nvPr/>
        </p:nvSpPr>
        <p:spPr bwMode="gray">
          <a:xfrm>
            <a:off x="66675" y="756000"/>
            <a:ext cx="9677399" cy="27206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möglicht </a:t>
            </a:r>
            <a:r>
              <a:rPr lang="de-DE" altLang="de-DE" dirty="0"/>
              <a:t>eine partielle Funktion in eine totale Funktion umzuwandeln, die den Datentyp Option zurück gibt. 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partielle Funktion von X nach Y ist eine Funktion f: X' → Y, wobei X' eine Teilmenge von X is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partielle Funktion funktioniert nur für einen Teil der Eingabewerte korrekt und wirft bei einer ungültigen Eingabe einen Fehler</a:t>
            </a:r>
            <a:endParaRPr lang="de-DE" alt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11" name="Rectangle 6"/>
          <p:cNvSpPr>
            <a:spLocks noChangeArrowheads="1"/>
          </p:cNvSpPr>
          <p:nvPr/>
        </p:nvSpPr>
        <p:spPr bwMode="auto">
          <a:xfrm>
            <a:off x="466725" y="3183612"/>
            <a:ext cx="10839449" cy="2400657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ivid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(a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) -&gt; a / b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&lt;Integer&gt;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feDivid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     </a:t>
            </a:r>
            <a:r>
              <a:rPr kumimoji="0" lang="de-DE" altLang="de-DE" sz="2000" b="0" i="0" u="none" strike="noStrike" cap="none" normalizeH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	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2.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f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ivid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None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&lt;Integer&gt; i1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feDivide.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om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2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&lt;Integer&gt; i2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feDivide.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3210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Algebraische Datentypen 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9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rodukttypen: Enthalten in der Regel mehrere Werte, die Felder heiß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Tuple0…8</a:t>
            </a:r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endParaRPr lang="de-DE" dirty="0"/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Summen- oder Variantentypen: Für jeden Typ gibt es nur eine fixe Anzahl an Varianten</a:t>
            </a: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Option (</a:t>
            </a:r>
            <a:r>
              <a:rPr lang="de-DE" sz="2400" dirty="0" err="1"/>
              <a:t>Some</a:t>
            </a:r>
            <a:r>
              <a:rPr lang="de-DE" sz="2400" dirty="0"/>
              <a:t>, None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Try (</a:t>
            </a:r>
            <a:r>
              <a:rPr lang="de-DE" sz="2400" dirty="0" err="1"/>
              <a:t>Sucess</a:t>
            </a:r>
            <a:r>
              <a:rPr lang="de-DE" sz="2400" dirty="0"/>
              <a:t>, </a:t>
            </a:r>
            <a:r>
              <a:rPr lang="de-DE" sz="2400" dirty="0" err="1"/>
              <a:t>Failure</a:t>
            </a:r>
            <a:r>
              <a:rPr lang="de-DE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Either</a:t>
            </a:r>
            <a:r>
              <a:rPr lang="de-DE" sz="2400" dirty="0"/>
              <a:t> (</a:t>
            </a:r>
            <a:r>
              <a:rPr lang="de-DE" sz="2400" dirty="0" err="1"/>
              <a:t>Left</a:t>
            </a:r>
            <a:r>
              <a:rPr lang="de-DE" sz="2400" dirty="0"/>
              <a:t>, </a:t>
            </a:r>
            <a:r>
              <a:rPr lang="de-DE" sz="2400" dirty="0" err="1"/>
              <a:t>Right</a:t>
            </a:r>
            <a:r>
              <a:rPr lang="de-DE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58901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 mich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</a:t>
            </a:fld>
            <a:endParaRPr lang="en-US" dirty="0"/>
          </a:p>
        </p:txBody>
      </p:sp>
      <p:sp>
        <p:nvSpPr>
          <p:cNvPr id="13" name="Freeform 8"/>
          <p:cNvSpPr>
            <a:spLocks/>
          </p:cNvSpPr>
          <p:nvPr/>
        </p:nvSpPr>
        <p:spPr bwMode="gray">
          <a:xfrm>
            <a:off x="2781300" y="759941"/>
            <a:ext cx="6291263" cy="313335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/>
              <a:t>Software </a:t>
            </a:r>
            <a:r>
              <a:rPr lang="en-US" sz="2400" dirty="0" err="1"/>
              <a:t>Architekt</a:t>
            </a:r>
            <a:r>
              <a:rPr lang="en-US" sz="2400" dirty="0"/>
              <a:t> 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/>
              <a:t>Deutsche Telekom – Connected Home (</a:t>
            </a:r>
            <a:r>
              <a:rPr lang="en-US" sz="2400" dirty="0" err="1"/>
              <a:t>Qivicon</a:t>
            </a:r>
            <a:r>
              <a:rPr lang="en-US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Ersteller</a:t>
            </a:r>
            <a:r>
              <a:rPr lang="en-US" sz="2400" dirty="0"/>
              <a:t> von Swagger2Markup und Resilience4j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Vavr</a:t>
            </a:r>
            <a:r>
              <a:rPr lang="en-US" sz="2400" dirty="0"/>
              <a:t>- Contributor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/>
              <a:t>Twitter: @</a:t>
            </a:r>
            <a:r>
              <a:rPr lang="en-US" sz="2400" dirty="0" err="1"/>
              <a:t>rbrtwnklr</a:t>
            </a:r>
            <a:endParaRPr lang="en-US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/>
              <a:t>GitHub: </a:t>
            </a:r>
            <a:r>
              <a:rPr lang="en-US" sz="2400" dirty="0" err="1"/>
              <a:t>RobWin</a:t>
            </a:r>
            <a:endParaRPr lang="en-US" sz="24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775" y="756000"/>
            <a:ext cx="2169042" cy="468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900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TUPLES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0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5" y="753941"/>
            <a:ext cx="9753599" cy="865309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sz="2400" dirty="0"/>
              <a:t>Es gibt </a:t>
            </a:r>
            <a:r>
              <a:rPr lang="de-DE" sz="2400" dirty="0" err="1"/>
              <a:t>Tuple</a:t>
            </a:r>
            <a:r>
              <a:rPr lang="de-DE" sz="2400" dirty="0"/>
              <a:t> mit bis zu 8 Feldern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sz="2400" dirty="0" err="1"/>
              <a:t>Tuples</a:t>
            </a:r>
            <a:r>
              <a:rPr lang="de-DE" sz="2400" dirty="0"/>
              <a:t> sind praktisch, wenn eine Funktion mehr als einen Rückgabewert hat</a:t>
            </a:r>
            <a:endParaRPr lang="en-US" sz="2400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466726" y="2059676"/>
            <a:ext cx="8801100" cy="3170099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(Java, 8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2&lt;Strin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java8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Java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8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v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1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uple2&lt;Strin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vavr1 = java8.map(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s -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.substring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+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 -&gt; i /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8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v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vavr1.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_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vavr1.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_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87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Option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1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725959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sz="2400" dirty="0"/>
              <a:t>Repräsentiert </a:t>
            </a:r>
            <a:r>
              <a:rPr lang="de-DE" dirty="0"/>
              <a:t>einen optionalen Wert (</a:t>
            </a:r>
            <a:r>
              <a:rPr lang="de-DE" dirty="0" err="1"/>
              <a:t>Some</a:t>
            </a:r>
            <a:r>
              <a:rPr lang="de-DE" dirty="0"/>
              <a:t> oder None)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Hat mehr Operatoren als Java 8‘s Optional und ist </a:t>
            </a:r>
            <a:r>
              <a:rPr lang="de-DE" dirty="0" err="1"/>
              <a:t>serialisierbar</a:t>
            </a:r>
            <a:endParaRPr lang="de-DE" dirty="0"/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Kann in andere Datentypen wie Try oder </a:t>
            </a:r>
            <a:r>
              <a:rPr lang="de-DE" dirty="0" err="1"/>
              <a:t>Either</a:t>
            </a:r>
            <a:r>
              <a:rPr lang="de-DE" dirty="0"/>
              <a:t> konvertiert werden </a:t>
            </a:r>
            <a:endParaRPr lang="en-US" sz="2400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24000" y="2895867"/>
            <a:ext cx="9725025" cy="1323439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ption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+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eek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debu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Value: {}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Ich muss weg!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5351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Try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2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725959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sz="2400" dirty="0"/>
              <a:t>Repräsentiert eine Berechnung, die entweder erfolgreich durchgeführt (</a:t>
            </a:r>
            <a:r>
              <a:rPr lang="de-DE" altLang="de-DE" sz="2400" dirty="0" err="1"/>
              <a:t>Success</a:t>
            </a:r>
            <a:r>
              <a:rPr lang="de-DE" altLang="de-DE" sz="2400" dirty="0"/>
              <a:t>) oder mit einem Fehler beendet wurde (</a:t>
            </a:r>
            <a:r>
              <a:rPr lang="de-DE" altLang="de-DE" sz="2400" dirty="0" err="1"/>
              <a:t>Failure</a:t>
            </a:r>
            <a:r>
              <a:rPr lang="de-DE" altLang="de-DE" sz="2400" dirty="0"/>
              <a:t>)</a:t>
            </a:r>
            <a:endParaRPr lang="en-US" sz="2400" dirty="0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324000" y="1715393"/>
            <a:ext cx="10620225" cy="286232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Service Interface mit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heck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rfa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WorldServi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y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sinessExceptio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()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+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 und allen Anwesenden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cover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sinessException.</a:t>
            </a:r>
            <a:r>
              <a:rPr lang="de-DE" altLang="de-DE" sz="20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ch muss weg!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Failur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lang="de-DE" altLang="de-DE" sz="20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war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ndled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endParaRPr lang="de-DE" altLang="de-DE" sz="4400" dirty="0">
              <a:latin typeface="Arial" panose="020B0604020202020204" pitchFamily="34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ch muss auch weg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324001" y="4762001"/>
            <a:ext cx="10620224" cy="1015663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rfa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WorldServic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ayHello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4252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EITHER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3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21491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Repräsentiert einen Wert aus zwei möglichen Typen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Eignet sich als </a:t>
            </a:r>
            <a:r>
              <a:rPr lang="de-DE" dirty="0" err="1"/>
              <a:t>entweder-oder</a:t>
            </a:r>
            <a:r>
              <a:rPr lang="de-DE" dirty="0"/>
              <a:t> Rückgabewert (</a:t>
            </a:r>
            <a:r>
              <a:rPr lang="de-DE" dirty="0" err="1"/>
              <a:t>Right</a:t>
            </a:r>
            <a:r>
              <a:rPr lang="de-DE" dirty="0"/>
              <a:t> oder </a:t>
            </a:r>
            <a:r>
              <a:rPr lang="de-DE" dirty="0" err="1"/>
              <a:t>Left</a:t>
            </a:r>
            <a:r>
              <a:rPr lang="de-DE" dirty="0"/>
              <a:t>)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Kann auch als Alternative für Option und Try verwendet werden</a:t>
            </a:r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 err="1"/>
              <a:t>Right</a:t>
            </a:r>
            <a:r>
              <a:rPr lang="de-DE" altLang="de-DE" dirty="0"/>
              <a:t> vergleichbar mit </a:t>
            </a:r>
            <a:r>
              <a:rPr lang="de-DE" altLang="de-DE" dirty="0" err="1"/>
              <a:t>Some</a:t>
            </a:r>
            <a:r>
              <a:rPr lang="de-DE" altLang="de-DE" dirty="0"/>
              <a:t> oder </a:t>
            </a:r>
            <a:r>
              <a:rPr lang="de-DE" altLang="de-DE" dirty="0" err="1"/>
              <a:t>Success</a:t>
            </a:r>
            <a:r>
              <a:rPr lang="de-DE" altLang="de-DE" dirty="0"/>
              <a:t> </a:t>
            </a:r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 err="1"/>
              <a:t>Left</a:t>
            </a:r>
            <a:r>
              <a:rPr lang="de-DE" altLang="de-DE" dirty="0"/>
              <a:t> vergleichbar mit None oder </a:t>
            </a:r>
            <a:r>
              <a:rPr lang="de-DE" altLang="de-DE" dirty="0" err="1"/>
              <a:t>Failure</a:t>
            </a:r>
            <a:r>
              <a:rPr lang="de-DE" altLang="de-DE" dirty="0"/>
              <a:t> 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endParaRPr lang="en-US" sz="2400" dirty="0"/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431950" y="2971800"/>
            <a:ext cx="10582125" cy="286232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ceptio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igh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ello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worl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ither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String::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Upper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altLang="de-DE" sz="20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ELLO WORLD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altLang="de-DE" sz="20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Try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ither.toTry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ption&lt;String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Optio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ither.toOptio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815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</a:t>
            </a:r>
            <a:r>
              <a:rPr lang="de-DE" dirty="0" err="1"/>
              <a:t>Lazy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4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21491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Repräsentiert einen Wert, der unter Umständen noch nicht berechnet wurde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Die Berechnung ist thread-safe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Kann man mit einem </a:t>
            </a:r>
            <a:r>
              <a:rPr lang="de-DE" dirty="0" err="1"/>
              <a:t>Supplier</a:t>
            </a:r>
            <a:r>
              <a:rPr lang="de-DE" dirty="0"/>
              <a:t> vergleichen, hat aber einen wesentlichen Unterschied: Der berechnete Wert wird </a:t>
            </a:r>
            <a:r>
              <a:rPr lang="de-DE" dirty="0" err="1"/>
              <a:t>gecached</a:t>
            </a:r>
            <a:endParaRPr lang="de-DE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473625" y="2808653"/>
            <a:ext cx="10572750" cy="163121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Double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h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isEvaluat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ge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      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0.123 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ndom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nerat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isEvaluat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azy.ge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      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= 0.123 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che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1437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VR: PATTERN MATCHING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5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756000"/>
            <a:ext cx="8834438" cy="214912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Pattern </a:t>
            </a:r>
            <a:r>
              <a:rPr lang="de-DE" dirty="0" err="1"/>
              <a:t>Matching</a:t>
            </a:r>
            <a:r>
              <a:rPr lang="de-DE" dirty="0"/>
              <a:t> erlaubt einen Wert gegen Patterns zu prüfen</a:t>
            </a:r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Mächtige Alternative zu </a:t>
            </a:r>
            <a:r>
              <a:rPr lang="de-DE" dirty="0" err="1"/>
              <a:t>Java‘s</a:t>
            </a:r>
            <a:r>
              <a:rPr lang="de-DE" dirty="0"/>
              <a:t> Switch </a:t>
            </a:r>
            <a:r>
              <a:rPr lang="de-DE" dirty="0" err="1"/>
              <a:t>statement</a:t>
            </a:r>
            <a:endParaRPr 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$() - Wildcard </a:t>
            </a:r>
            <a:r>
              <a:rPr lang="de-DE" altLang="de-DE" dirty="0" err="1"/>
              <a:t>pattern</a:t>
            </a:r>
            <a:endParaRPr lang="de-DE" alt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$(</a:t>
            </a:r>
            <a:r>
              <a:rPr lang="de-DE" altLang="de-DE" dirty="0" err="1"/>
              <a:t>value</a:t>
            </a:r>
            <a:r>
              <a:rPr lang="de-DE" altLang="de-DE" dirty="0"/>
              <a:t>) - </a:t>
            </a:r>
            <a:r>
              <a:rPr lang="de-DE" altLang="de-DE" dirty="0" err="1"/>
              <a:t>Equals</a:t>
            </a:r>
            <a:r>
              <a:rPr lang="de-DE" altLang="de-DE" dirty="0"/>
              <a:t> </a:t>
            </a:r>
            <a:r>
              <a:rPr lang="de-DE" altLang="de-DE" dirty="0" err="1"/>
              <a:t>pattern</a:t>
            </a:r>
            <a:endParaRPr lang="de-DE" alt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altLang="de-DE" dirty="0"/>
              <a:t>$(</a:t>
            </a:r>
            <a:r>
              <a:rPr lang="de-DE" altLang="de-DE" dirty="0" err="1"/>
              <a:t>predicate</a:t>
            </a:r>
            <a:r>
              <a:rPr lang="de-DE" altLang="de-DE" dirty="0"/>
              <a:t>) - </a:t>
            </a:r>
            <a:r>
              <a:rPr lang="de-DE" altLang="de-DE" dirty="0" err="1"/>
              <a:t>Conditional</a:t>
            </a:r>
            <a:r>
              <a:rPr lang="de-DE" altLang="de-DE" dirty="0"/>
              <a:t> </a:t>
            </a:r>
            <a:r>
              <a:rPr lang="de-DE" altLang="de-DE" dirty="0" err="1"/>
              <a:t>pattern</a:t>
            </a:r>
            <a:endParaRPr lang="de-DE" altLang="de-DE" dirty="0"/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422275" y="3070353"/>
            <a:ext cx="10287000" cy="255454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atternMatching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Integer i)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i)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1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I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2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3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ny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one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6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4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not (5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6)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?"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906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Resilience4j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6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4605262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leichtgewichtige Fehlertoleranz-Bibliothek, die von </a:t>
            </a:r>
            <a:r>
              <a:rPr lang="de-DE" dirty="0" err="1"/>
              <a:t>Netflix</a:t>
            </a:r>
            <a:r>
              <a:rPr lang="de-DE" dirty="0"/>
              <a:t> </a:t>
            </a:r>
            <a:r>
              <a:rPr lang="de-DE" dirty="0" err="1"/>
              <a:t>Hystrix</a:t>
            </a:r>
            <a:r>
              <a:rPr lang="de-DE" dirty="0"/>
              <a:t> inspiriert wurde, aber speziell für funktionale Programmierung konzipiert is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Stellt Funktionen höherer Ordnung bereit, mit denen funktionale Schnittstellen, Lambda Ausdrücke und Methoden-Referenzen um Funktionalität erweitert werden können</a:t>
            </a:r>
            <a:endParaRPr lang="de-DE" sz="2400" dirty="0"/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CircuitBreaker</a:t>
            </a:r>
            <a:r>
              <a:rPr lang="de-DE" sz="2400" dirty="0"/>
              <a:t>: Schützt Funktionen mit einer „Sicherung“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RateLimiter</a:t>
            </a:r>
            <a:r>
              <a:rPr lang="de-DE" sz="2400" dirty="0"/>
              <a:t>: Limitiert die </a:t>
            </a:r>
            <a:r>
              <a:rPr lang="de-DE" dirty="0"/>
              <a:t>Rate von Funktionsaufrufen </a:t>
            </a:r>
            <a:endParaRPr lang="de-DE" sz="2400" dirty="0"/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Retry</a:t>
            </a:r>
            <a:r>
              <a:rPr lang="de-DE" sz="2400" dirty="0"/>
              <a:t>: Wiederholt </a:t>
            </a:r>
            <a:r>
              <a:rPr lang="de-DE" dirty="0"/>
              <a:t>fehlgeschlagene Funktionen automatisch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BulkHead</a:t>
            </a:r>
            <a:r>
              <a:rPr lang="de-DE" sz="2400" dirty="0"/>
              <a:t>: Limitiert die Anzahl gleichzeitiger Funktionsaufrufe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TimeLimiter</a:t>
            </a:r>
            <a:r>
              <a:rPr lang="de-DE" sz="2400" dirty="0"/>
              <a:t>: Limitiert die Laufzeit von Funktionen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 err="1"/>
              <a:t>Timer</a:t>
            </a:r>
            <a:r>
              <a:rPr lang="de-DE" sz="2400" dirty="0"/>
              <a:t>: Misst Metriken von </a:t>
            </a:r>
            <a:r>
              <a:rPr lang="de-DE" sz="2400" dirty="0"/>
              <a:t>Funktionsaufrufen</a:t>
            </a:r>
            <a:endParaRPr lang="en-US" sz="24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99525" y="3937093"/>
            <a:ext cx="2114550" cy="2162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089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0932119" y="6407459"/>
            <a:ext cx="365125" cy="274637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7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2632" y="959966"/>
            <a:ext cx="1699048" cy="1699048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77665" y="2751293"/>
            <a:ext cx="5257206" cy="2023901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238126" y="870101"/>
            <a:ext cx="5759450" cy="396582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ine Zustandsmaschine mit drei Zuständen: CLOSED, OPEN, HALF_OP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Konfigurierbarer Schwellwert für die Fehlerrate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laubt eine konfigurierbare Anzahl von Testaufrufen im HALF_OPEN Zustand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Speichert den Status von Funktionsaufrufen in zwei Bit Ring </a:t>
            </a:r>
            <a:r>
              <a:rPr lang="de-DE" dirty="0" err="1"/>
              <a:t>Buffer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rray mit 16 </a:t>
            </a:r>
            <a:r>
              <a:rPr lang="de-DE" dirty="0" err="1"/>
              <a:t>long</a:t>
            </a:r>
            <a:r>
              <a:rPr lang="de-DE" dirty="0"/>
              <a:t> (64-bit) Werten kann den Status von 1024 Aufrufen speicher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Kein rollendes Zeitfenster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31680" y="4835930"/>
            <a:ext cx="1040884" cy="1040884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6558171" y="454669"/>
            <a:ext cx="1233396" cy="33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1000 Aufrufe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8031680" y="5937550"/>
            <a:ext cx="1049848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800" dirty="0">
                <a:ea typeface="Swagger" pitchFamily="2" charset="0"/>
              </a:rPr>
              <a:t>10 Aufrufe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8476836" y="2362275"/>
            <a:ext cx="3045239" cy="296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altLang="de-DE" sz="14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ircuitBreakerOpenException</a:t>
            </a:r>
            <a:endParaRPr lang="de-DE" sz="1400" b="1" dirty="0">
              <a:latin typeface="Courier New" panose="02070309020205020404" pitchFamily="49" charset="0"/>
              <a:ea typeface="Swagger" pitchFamily="2" charset="0"/>
              <a:cs typeface="Courier New" panose="02070309020205020404" pitchFamily="49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6677501" y="1890510"/>
            <a:ext cx="1013786" cy="249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1200" b="1" dirty="0">
                <a:ea typeface="Swagger" pitchFamily="2" charset="0"/>
              </a:rPr>
              <a:t>Fehlerrate 50%</a:t>
            </a:r>
          </a:p>
        </p:txBody>
      </p:sp>
    </p:spTree>
    <p:extLst>
      <p:ext uri="{BB962C8B-B14F-4D97-AF65-F5344CB8AC3E}">
        <p14:creationId xmlns:p14="http://schemas.microsoft.com/office/powerpoint/2010/main" val="1838230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8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200026" y="756000"/>
            <a:ext cx="11125349" cy="5078313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Config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Config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Config.</a:t>
            </a:r>
            <a:r>
              <a:rPr lang="de-DE" altLang="de-DE" sz="18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ilureRateThreshold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0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aitDurationInOpenStat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lang="de-DE" altLang="de-DE" sz="18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Seconds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cordFailur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lang="de-DE" altLang="de-DE" sz="18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8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OException.</a:t>
            </a:r>
            <a:r>
              <a:rPr lang="de-DE" altLang="de-DE" sz="18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18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8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ebApplicationException.</a:t>
            </a:r>
            <a:r>
              <a:rPr lang="de-DE" altLang="de-DE" sz="18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		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 -&gt;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.getRespons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Status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== </a:t>
            </a:r>
            <a:r>
              <a:rPr lang="de-DE" altLang="de-DE" sz="1800" i="1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NAL_SERVER_ERRO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8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i="1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altLang="de-DE" sz="18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)</a:t>
            </a:r>
            <a:b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DE" altLang="de-DE" sz="4000" dirty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„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Nam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Suppli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Suppli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Ich muss weg!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760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FUNKTION höherer ORDNUNG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9</a:t>
            </a:fld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238125" y="870101"/>
            <a:ext cx="9791699" cy="431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395133" y="1085737"/>
            <a:ext cx="10436380" cy="4095253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atic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{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Utils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CallPermitte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5078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Valu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call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onSucce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Valu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tch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onErro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3193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macht Funktionale </a:t>
            </a:r>
            <a:r>
              <a:rPr lang="de-DE" dirty="0" err="1"/>
              <a:t>programmierung</a:t>
            </a:r>
            <a:r>
              <a:rPr lang="de-DE" dirty="0"/>
              <a:t> aus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8456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Funktionen</a:t>
            </a:r>
            <a:r>
              <a:rPr lang="en-US" sz="2400" dirty="0"/>
              <a:t> </a:t>
            </a:r>
            <a:r>
              <a:rPr lang="en-US" sz="2400" dirty="0" err="1"/>
              <a:t>sind</a:t>
            </a:r>
            <a:r>
              <a:rPr lang="en-US" sz="2400" dirty="0"/>
              <a:t> “</a:t>
            </a:r>
            <a:r>
              <a:rPr lang="de-DE" sz="2400" dirty="0"/>
              <a:t>first-class </a:t>
            </a:r>
            <a:r>
              <a:rPr lang="de-DE" sz="2400" dirty="0" err="1"/>
              <a:t>citizen</a:t>
            </a:r>
            <a:r>
              <a:rPr lang="en-US" sz="2400" dirty="0"/>
              <a:t>”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400" dirty="0" err="1"/>
              <a:t>Funktionen</a:t>
            </a:r>
            <a:r>
              <a:rPr lang="de-DE" sz="2400" dirty="0"/>
              <a:t> können Variable zugewiesen werd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höherer Ordnung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können als Parameter übergeben werden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können als Resultat zurückgegeben werd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ohne Seiteneffekte (Referentielle Transparenz)</a:t>
            </a:r>
            <a:endParaRPr lang="en-US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Komposition von Funktionen (</a:t>
            </a:r>
            <a:r>
              <a:rPr lang="de-DE" sz="2400" dirty="0" err="1"/>
              <a:t>Seperation</a:t>
            </a:r>
            <a:r>
              <a:rPr lang="de-DE" sz="2400" dirty="0"/>
              <a:t> </a:t>
            </a:r>
            <a:r>
              <a:rPr lang="de-DE" sz="2400" dirty="0" err="1"/>
              <a:t>of</a:t>
            </a:r>
            <a:r>
              <a:rPr lang="de-DE" sz="2400" dirty="0"/>
              <a:t> </a:t>
            </a:r>
            <a:r>
              <a:rPr lang="de-DE" sz="2400" dirty="0" err="1"/>
              <a:t>Concerns</a:t>
            </a:r>
            <a:r>
              <a:rPr lang="de-DE" sz="2400" dirty="0"/>
              <a:t>)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Persistente (unveränderliche) Datenstruktur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Algebraische Datentypen (Summen- und Produkt-Typen)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057717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 METRIC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0</a:t>
            </a:fld>
            <a:endParaRPr lang="en-US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81063" y="1845097"/>
            <a:ext cx="10957874" cy="3970318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Regis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Default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cb1 =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gistry.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„name1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cb2 =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gistry.circuitBreake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„name2"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Metric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cb1.getMetrics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loa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ilureRat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FailureRat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ffered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Buffered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iled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Failed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ccessful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Successful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otPermitted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NotPermitted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rgbClr val="A9B7C6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gisterAll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Metrics.</a:t>
            </a:r>
            <a:r>
              <a:rPr lang="de-DE" altLang="de-DE" sz="18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CircuitBreakerRegistry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gistry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238126" y="870102"/>
            <a:ext cx="11077574" cy="86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Misst Metriken für ein Monitoring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Metriken können mit Hilfe von </a:t>
            </a:r>
            <a:r>
              <a:rPr lang="de-DE" dirty="0" err="1"/>
              <a:t>Dropwizard</a:t>
            </a:r>
            <a:r>
              <a:rPr lang="de-DE" dirty="0"/>
              <a:t> </a:t>
            </a:r>
            <a:r>
              <a:rPr lang="de-DE" dirty="0" err="1"/>
              <a:t>Metrics</a:t>
            </a:r>
            <a:r>
              <a:rPr lang="de-DE" dirty="0"/>
              <a:t> oder Prometheus exportiert werden</a:t>
            </a:r>
          </a:p>
        </p:txBody>
      </p:sp>
    </p:spTree>
    <p:extLst>
      <p:ext uri="{BB962C8B-B14F-4D97-AF65-F5344CB8AC3E}">
        <p14:creationId xmlns:p14="http://schemas.microsoft.com/office/powerpoint/2010/main" val="91034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 EVENT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1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64150" y="834492"/>
            <a:ext cx="10991700" cy="4801314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Event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andler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getEventPublish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Succe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debu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…)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Erro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war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…)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StateTransitio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info(…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activ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eam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xJava2Adapter.</a:t>
            </a:r>
            <a:r>
              <a:rPr kumimoji="0" lang="de-DE" altLang="de-DE" sz="18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Flow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.getEventPublish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.getEventTyp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=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ype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RRO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OnErrorEvent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bscrib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war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…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de-DE" altLang="de-DE" sz="18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lar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larEventConsume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Event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larEventConsume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&gt;(</a:t>
            </a:r>
            <a:r>
              <a:rPr lang="de-DE" altLang="de-DE" sz="18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.getEventPublishe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nEvent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rcuitBreakerEvent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Events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ingBuffer.getBufferedEvents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altLang="de-DE" sz="18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4757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CIRCUITBREAKER RXjava2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2</a:t>
            </a:fld>
            <a:endParaRPr lang="en-US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24000" y="3108884"/>
            <a:ext cx="10507513" cy="163121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bservable&lt;String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hodWhichRetur</a:t>
            </a:r>
            <a:r>
              <a:rPr lang="de-DE" altLang="de-DE" sz="2000" dirty="0" err="1">
                <a:solidFill>
                  <a:srgbClr val="FFC66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sAnObservabl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.methodWhichReturnsAnObservabl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ou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Unit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9876A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S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    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f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Operator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Freeform 8"/>
          <p:cNvSpPr>
            <a:spLocks/>
          </p:cNvSpPr>
          <p:nvPr/>
        </p:nvSpPr>
        <p:spPr bwMode="gray">
          <a:xfrm>
            <a:off x="238126" y="879826"/>
            <a:ext cx="9610724" cy="482250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/>
              <a:t>Es gibt RxJava2 Operatoren für Observable, </a:t>
            </a:r>
            <a:r>
              <a:rPr lang="de-DE" dirty="0" err="1"/>
              <a:t>Flowable</a:t>
            </a:r>
            <a:r>
              <a:rPr lang="de-DE" dirty="0"/>
              <a:t> und Single</a:t>
            </a:r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 err="1"/>
              <a:t>CircuitBreaker</a:t>
            </a:r>
            <a:endParaRPr 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 err="1"/>
              <a:t>RateLimiter</a:t>
            </a:r>
            <a:endParaRPr lang="de-DE" dirty="0"/>
          </a:p>
          <a:p>
            <a:pPr marL="918972" lvl="1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r>
              <a:rPr lang="de-DE" dirty="0" err="1"/>
              <a:t>Retry</a:t>
            </a:r>
            <a:endParaRPr lang="de-DE" dirty="0"/>
          </a:p>
          <a:p>
            <a:pPr marL="342900" indent="-3429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" panose="05000000000000000000" pitchFamily="2" charset="2"/>
              <a:buChar char="§"/>
            </a:pP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000396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RETRY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3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38126" y="1192572"/>
            <a:ext cx="10858499" cy="452431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Config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xAttempt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waitDuratio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Milli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0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valFunction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valFunction.</a:t>
            </a:r>
            <a:r>
              <a:rPr lang="de-DE" altLang="de-DE" sz="1800" i="1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fExponentialBackoff</a:t>
            </a: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OnExceptio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I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row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OException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kumimoji="0" lang="de-DE" altLang="de-DE" sz="18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1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$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Nam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Ich muss weg!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238126" y="741298"/>
            <a:ext cx="9004068" cy="4124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000" dirty="0"/>
              <a:t>Wiederholt fehlgeschlagene Aufrufe und erhöht die Wartezeit zwischen Aufrufen exponentiel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1430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</a:t>
            </a:r>
            <a:r>
              <a:rPr lang="de-DE" dirty="0" err="1"/>
              <a:t>Ratelimit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0932119" y="6407459"/>
            <a:ext cx="365125" cy="274637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4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8750" y="2067346"/>
            <a:ext cx="7810499" cy="4126793"/>
          </a:xfrm>
          <a:prstGeom prst="rect">
            <a:avLst/>
          </a:prstGeom>
        </p:spPr>
      </p:pic>
      <p:sp>
        <p:nvSpPr>
          <p:cNvPr id="14" name="Rechteck 13"/>
          <p:cNvSpPr/>
          <p:nvPr/>
        </p:nvSpPr>
        <p:spPr>
          <a:xfrm>
            <a:off x="238125" y="766881"/>
            <a:ext cx="10191750" cy="12895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Limitiert die </a:t>
            </a:r>
            <a:r>
              <a:rPr lang="de-DE" dirty="0"/>
              <a:t>Rate von Funktionsaufrufen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ie Zeit wird in Zyklen eingeteilt. Jeder Zyklus hat eine konfigurierbare Dauer.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Jeder Zyklus erlaubt eine konfigurierbare Anzahl von Funktionsaufrufen</a:t>
            </a:r>
          </a:p>
        </p:txBody>
      </p:sp>
    </p:spTree>
    <p:extLst>
      <p:ext uri="{BB962C8B-B14F-4D97-AF65-F5344CB8AC3E}">
        <p14:creationId xmlns:p14="http://schemas.microsoft.com/office/powerpoint/2010/main" val="1842570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</a:t>
            </a:r>
            <a:r>
              <a:rPr lang="de-DE" dirty="0" err="1"/>
              <a:t>Ratelimit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5</a:t>
            </a:fld>
            <a:endParaRPr lang="en-US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98451" y="1281994"/>
            <a:ext cx="10715624" cy="452431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Config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outDuratio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Milli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0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mitRefreshPerio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uration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Second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mitForPerio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Nam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ateLimit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rst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rstTry.isSucce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Tru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.isFailur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Tru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.getCaus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Instance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questNotPermitted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324000" y="756000"/>
            <a:ext cx="4674036" cy="4764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Erlaubt 1 Funktionsaufruf pro Sekund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7878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BULKHEAD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6</a:t>
            </a:fld>
            <a:endParaRPr lang="en-US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324000" y="1865179"/>
            <a:ext cx="10801200" cy="3970318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Config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ustom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xWaitTim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00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xConcurrent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il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bar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  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irst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ry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d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condTry.getCaus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InstanceOf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lkheadFullException.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38125" y="758999"/>
            <a:ext cx="10191750" cy="86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Limitiert die Anzahl gleichzeitiger Funktionsaufrufe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Ermöglicht, dass Funktionsaufrufe entweder warten oder mit einem Fehler abbrech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834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TIME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7</a:t>
            </a:fld>
            <a:endParaRPr 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24000" y="2437661"/>
            <a:ext cx="10373710" cy="3416320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Metric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backend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Registry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String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kumimoji="0" lang="de-DE" altLang="de-DE" sz="18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orateCallab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-&gt;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sayHelloWorld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Robert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.Metric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imer.getMetric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tal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Total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uccessful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Successful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ailed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NumberOfFailedCall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anRat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MeanRat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ouble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sponseTimePercentil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rics.getSnapsho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.get95thPercentile()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38125" y="758999"/>
            <a:ext cx="10191750" cy="16802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Integration mit </a:t>
            </a:r>
            <a:r>
              <a:rPr lang="de-DE" dirty="0" err="1"/>
              <a:t>Dropwizard</a:t>
            </a:r>
            <a:r>
              <a:rPr lang="de-DE" dirty="0"/>
              <a:t> </a:t>
            </a:r>
            <a:r>
              <a:rPr lang="de-DE" dirty="0" err="1"/>
              <a:t>Metrics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Misst Metriken wie 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nzahl erfolgreicher und fehlgeschlagener Aufrufe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ntwortzeit und </a:t>
            </a:r>
            <a:r>
              <a:rPr lang="de-DE" dirty="0"/>
              <a:t>Aufrufra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1071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ilience4j: Spring Boot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8</a:t>
            </a:fld>
            <a:endParaRPr lang="en-US" dirty="0"/>
          </a:p>
        </p:txBody>
      </p:sp>
      <p:sp>
        <p:nvSpPr>
          <p:cNvPr id="6" name="Freeform 8"/>
          <p:cNvSpPr>
            <a:spLocks/>
          </p:cNvSpPr>
          <p:nvPr/>
        </p:nvSpPr>
        <p:spPr bwMode="gray">
          <a:xfrm>
            <a:off x="238126" y="9599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Spring Boot Starter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Konfiguration mittels Spring Boot </a:t>
            </a:r>
            <a:r>
              <a:rPr lang="de-DE" dirty="0" err="1"/>
              <a:t>Config</a:t>
            </a:r>
            <a:r>
              <a:rPr lang="de-DE" dirty="0"/>
              <a:t>-Datei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Annotationen für </a:t>
            </a:r>
            <a:r>
              <a:rPr lang="de-DE" dirty="0" err="1"/>
              <a:t>CircuitBreaker</a:t>
            </a:r>
            <a:r>
              <a:rPr lang="de-DE" dirty="0"/>
              <a:t> und </a:t>
            </a:r>
            <a:r>
              <a:rPr lang="de-DE" dirty="0" err="1"/>
              <a:t>RateLimiter</a:t>
            </a:r>
            <a:endParaRPr lang="de-DE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Neue </a:t>
            </a:r>
            <a:r>
              <a:rPr lang="de-DE" sz="2400" dirty="0" err="1"/>
              <a:t>HealthIndicator</a:t>
            </a:r>
            <a:r>
              <a:rPr lang="de-DE" sz="2400" dirty="0"/>
              <a:t> für </a:t>
            </a:r>
            <a:r>
              <a:rPr lang="de-DE" sz="2400" dirty="0" err="1"/>
              <a:t>CircuitBreaker</a:t>
            </a:r>
            <a:r>
              <a:rPr lang="de-DE" sz="2400" dirty="0"/>
              <a:t> und </a:t>
            </a:r>
            <a:r>
              <a:rPr lang="de-DE" sz="2400" dirty="0" err="1"/>
              <a:t>RateLimiter</a:t>
            </a: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Events werden über ein neuen </a:t>
            </a:r>
            <a:r>
              <a:rPr lang="de-DE" sz="2400" dirty="0" err="1"/>
              <a:t>Actuator</a:t>
            </a:r>
            <a:r>
              <a:rPr lang="de-DE" sz="2400" dirty="0"/>
              <a:t> Endpoints veröffentlicht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Metriken werden über den </a:t>
            </a:r>
            <a:r>
              <a:rPr lang="de-DE" sz="2400" dirty="0" err="1"/>
              <a:t>Actuator</a:t>
            </a:r>
            <a:r>
              <a:rPr lang="de-DE" sz="2400" dirty="0"/>
              <a:t> </a:t>
            </a:r>
            <a:r>
              <a:rPr lang="de-DE" sz="2400" dirty="0" err="1"/>
              <a:t>Metrics</a:t>
            </a:r>
            <a:r>
              <a:rPr lang="de-DE" sz="2400" dirty="0"/>
              <a:t> veröffentlicht</a:t>
            </a:r>
            <a:endParaRPr lang="en-US" sz="2400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65126" y="3890486"/>
            <a:ext cx="10560050" cy="1477328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@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ircuitBreake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backend =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A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@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mponent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alue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AConnecto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ackendAConnector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mplements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nector {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  ...</a:t>
            </a: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9827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9</a:t>
            </a:fld>
            <a:endParaRPr lang="en-US" dirty="0"/>
          </a:p>
        </p:txBody>
      </p:sp>
      <p:sp>
        <p:nvSpPr>
          <p:cNvPr id="7" name="Textfeld 6"/>
          <p:cNvSpPr txBox="1"/>
          <p:nvPr/>
        </p:nvSpPr>
        <p:spPr>
          <a:xfrm>
            <a:off x="3390571" y="835572"/>
            <a:ext cx="4623620" cy="1487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de-DE" sz="9600" dirty="0">
                <a:ea typeface="Swagger" pitchFamily="2" charset="0"/>
              </a:rPr>
              <a:t>FRAGEN?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/>
          <a:srcRect b="7610"/>
          <a:stretch/>
        </p:blipFill>
        <p:spPr>
          <a:xfrm>
            <a:off x="2683312" y="2323021"/>
            <a:ext cx="6421273" cy="3672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315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position von FUNKTION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845666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können miteinander verkettet werd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urch Anwendung einer Funktion auf dem Resultat einer anderen Funktion entsteht eine neue Funktion.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ie Funktionen f: X → Y und g: Y → Z können zu einer Funktion h: g(f(x)) verkettet werden mit h: X → Z.</a:t>
            </a:r>
            <a:r>
              <a:rPr lang="de-DE" sz="2400" dirty="0"/>
              <a:t> 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447675" y="3014097"/>
            <a:ext cx="10566400" cy="2677656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lusOne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a -&gt; a +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ultiplyByTwo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a -&gt; a *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plusOneAndMultiplyBy2 = 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lusOne.andThen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ultiplyByTwo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4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plusOneAndMultiplyBy2.apply(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.</a:t>
            </a:r>
            <a:r>
              <a:rPr kumimoji="0" lang="de-DE" altLang="de-DE" sz="24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6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4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4487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sind FUNKTIONEN höherer ORDNUNG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5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874241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15" name="Freeform 8"/>
          <p:cNvSpPr>
            <a:spLocks/>
          </p:cNvSpPr>
          <p:nvPr/>
        </p:nvSpPr>
        <p:spPr bwMode="gray">
          <a:xfrm>
            <a:off x="247800" y="883744"/>
            <a:ext cx="8834438" cy="9640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können als Parameter übergeben werd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Funktionen können als Resultat zurückgegeben werden</a:t>
            </a:r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238126" y="2141751"/>
            <a:ext cx="10958512" cy="2862322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Eine Funktion, die das Ergebnis einer anderen Funktion verdoppelt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rgbClr val="A9B7C6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Function1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ultiplyByTwo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= (Function1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-&gt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Integer y) -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B389C5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y) *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rgbClr val="CC7832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1&lt;Integer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&gt;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lusOneAndMultiplyTwo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ultiplyByTwo.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a -&gt; a +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lusOneAndMultiplyTwo.appl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).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EqualTo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6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6335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Referentielle Transparenz? 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6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756000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Der Aufruf </a:t>
            </a:r>
            <a:r>
              <a:rPr lang="de-DE" sz="2400" dirty="0"/>
              <a:t>einer Funktion mit den selben Parametern liefert stets dasselbe Ergebnis, ist also unabhängig vom Kontext.</a:t>
            </a:r>
            <a:endParaRPr lang="en-US" sz="2400" dirty="0"/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504826" y="1841615"/>
            <a:ext cx="10795950" cy="2554545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Mit Seiteneffekt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lobalValue</a:t>
            </a:r>
            <a:r>
              <a:rPr lang="de-DE" altLang="de-DE" sz="20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de-DE" altLang="de-DE" sz="20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de-DE" altLang="de-DE" sz="2000" dirty="0">
              <a:latin typeface="Arial" panose="020B0604020202020204" pitchFamily="34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 err="1">
                <a:solidFill>
                  <a:srgbClr val="FFC66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x) {</a:t>
            </a:r>
            <a:b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20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lobalValue</a:t>
            </a:r>
            <a:r>
              <a:rPr lang="de-DE" altLang="de-DE" sz="2000" dirty="0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= </a:t>
            </a:r>
            <a:r>
              <a:rPr lang="de-DE" altLang="de-DE" sz="2000" dirty="0">
                <a:solidFill>
                  <a:srgbClr val="6897B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altLang="de-DE" sz="20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row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llegalStateException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nvalid </a:t>
            </a:r>
            <a:r>
              <a:rPr lang="de-DE" altLang="de-DE" sz="2000" dirty="0" err="1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ate</a:t>
            </a:r>
            <a:r>
              <a:rPr lang="de-DE" altLang="de-DE" sz="2000" dirty="0">
                <a:solidFill>
                  <a:srgbClr val="6A87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20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lobalValu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+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altLang="de-DE" sz="2000" dirty="0" err="1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x + </a:t>
            </a:r>
            <a:r>
              <a:rPr lang="de-DE" altLang="de-DE" sz="2000" dirty="0" err="1">
                <a:solidFill>
                  <a:srgbClr val="9876A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lobalValue</a:t>
            </a:r>
            <a: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de-DE" alt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Rectangle 8"/>
          <p:cNvSpPr>
            <a:spLocks noChangeArrowheads="1"/>
          </p:cNvSpPr>
          <p:nvPr/>
        </p:nvSpPr>
        <p:spPr bwMode="auto">
          <a:xfrm>
            <a:off x="504826" y="4541416"/>
            <a:ext cx="10795950" cy="1323439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2000" dirty="0">
                <a:solidFill>
                  <a:srgbClr val="CC783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Referentiell transparent</a:t>
            </a:r>
            <a:endParaRPr lang="de-DE" altLang="de-DE" sz="2000" dirty="0">
              <a:solidFill>
                <a:srgbClr val="CC7832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x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y) {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x + y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0403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(PURE) Funktionen ohne Seiteneffekte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7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5" y="981075"/>
            <a:ext cx="5734049" cy="498087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elle Eingabe: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Parameter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 err="1"/>
              <a:t>Instanzvariablen</a:t>
            </a:r>
            <a:endParaRPr lang="de-DE" dirty="0"/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Globale Variablen 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elle Ausgabe: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Rückgabewert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 err="1"/>
              <a:t>Instanzvariablen</a:t>
            </a:r>
            <a:endParaRPr lang="de-DE" dirty="0"/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Global Variablen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 err="1"/>
              <a:t>Exception</a:t>
            </a:r>
            <a:endParaRPr lang="de-DE" dirty="0"/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Veränderlicher Parameter</a:t>
            </a:r>
            <a:endParaRPr lang="en-US" sz="2400" dirty="0"/>
          </a:p>
        </p:txBody>
      </p:sp>
      <p:sp>
        <p:nvSpPr>
          <p:cNvPr id="10" name="Freeform 8"/>
          <p:cNvSpPr>
            <a:spLocks/>
          </p:cNvSpPr>
          <p:nvPr/>
        </p:nvSpPr>
        <p:spPr bwMode="gray">
          <a:xfrm>
            <a:off x="7102042" y="984688"/>
            <a:ext cx="3362326" cy="4980875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elle Eingabe: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Parameter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de-DE" sz="2400" dirty="0"/>
          </a:p>
          <a:p>
            <a:pPr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</a:pPr>
            <a:r>
              <a:rPr lang="de-DE" dirty="0"/>
              <a:t>Potentielle Ausgabe:</a:t>
            </a:r>
          </a:p>
          <a:p>
            <a:pPr marL="792072" lvl="1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dirty="0"/>
              <a:t>Rückgabewert</a:t>
            </a:r>
            <a:endParaRPr lang="en-US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74934" y="1580164"/>
            <a:ext cx="1952625" cy="2333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979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perativ </a:t>
            </a:r>
            <a:r>
              <a:rPr lang="de-DE" dirty="0" err="1"/>
              <a:t>vs</a:t>
            </a:r>
            <a:r>
              <a:rPr lang="de-DE" dirty="0"/>
              <a:t> funktional: </a:t>
            </a:r>
            <a:r>
              <a:rPr lang="de-DE" dirty="0" err="1"/>
              <a:t>Seper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ONCERN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8</a:t>
            </a:fld>
            <a:endParaRPr lang="en-US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562125" y="871549"/>
            <a:ext cx="9562950" cy="3447098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String&gt;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s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rrayList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&gt;(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Cou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0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R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Nam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b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R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fferedReade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ring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.read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ile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Cou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&lt; 40</a:t>
            </a: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amp;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!= null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  <a:b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.startsWith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"ERROR"))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s.add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Coun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+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.readLin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562125" y="4447260"/>
            <a:ext cx="9562950" cy="1138773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&lt;String&gt; </a:t>
            </a:r>
            <a:r>
              <a:rPr lang="de-DE" altLang="de-DE" sz="2000" dirty="0" err="1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rrors</a:t>
            </a:r>
            <a:r>
              <a:rPr lang="de-DE" altLang="de-DE" sz="2000" dirty="0">
                <a:solidFill>
                  <a:srgbClr val="A9B7C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s.</a:t>
            </a:r>
            <a:r>
              <a:rPr lang="de-DE" altLang="de-DE" sz="1800" i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nes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ths.</a:t>
            </a:r>
            <a:r>
              <a:rPr lang="de-DE" altLang="de-DE" sz="1800" i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Name</a:t>
            </a:r>
            <a:r>
              <a:rPr lang="de-DE" altLang="de-DE" sz="18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b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l -&gt; 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.startsWith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"ERROR"))</a:t>
            </a:r>
            <a:b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.</a:t>
            </a:r>
            <a:r>
              <a:rPr lang="de-DE" altLang="de-DE" sz="1800" dirty="0" err="1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mit</a:t>
            </a:r>
            <a:r>
              <a:rPr lang="de-DE" altLang="de-DE" sz="1800" dirty="0">
                <a:solidFill>
                  <a:schemeClr val="accent2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40)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de-DE" altLang="de-DE" sz="1800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lect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altLang="de-DE" sz="1800" i="1" dirty="0" err="1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List</a:t>
            </a:r>
            <a:r>
              <a:rPr lang="de-DE" altLang="de-DE" sz="1800" dirty="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  <a:endParaRPr lang="de-DE" altLang="de-DE" sz="4000" dirty="0">
              <a:solidFill>
                <a:srgbClr val="92D05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5679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sind persistente Datenstrukturen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9</a:t>
            </a:fld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gray">
          <a:xfrm>
            <a:off x="238126" y="1064741"/>
            <a:ext cx="8834438" cy="3669184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38" h="1080">
                <a:moveTo>
                  <a:pt x="4538" y="0"/>
                </a:moveTo>
                <a:lnTo>
                  <a:pt x="0" y="0"/>
                </a:lnTo>
                <a:lnTo>
                  <a:pt x="105" y="541"/>
                </a:lnTo>
                <a:lnTo>
                  <a:pt x="0" y="1080"/>
                </a:lnTo>
                <a:lnTo>
                  <a:pt x="4538" y="1080"/>
                </a:lnTo>
                <a:lnTo>
                  <a:pt x="4538" y="0"/>
                </a:lnTo>
              </a:path>
            </a:pathLst>
          </a:custGeom>
          <a:solidFill>
            <a:schemeClr val="bg1"/>
          </a:solidFill>
          <a:ln w="19050" cap="sq" cmpd="sng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60000" tIns="72000" rIns="108000" bIns="72000" anchor="t"/>
          <a:lstStyle/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Liefert bei einer Änderung </a:t>
            </a:r>
            <a:r>
              <a:rPr lang="de-DE" dirty="0"/>
              <a:t>eine veränderte Kopie von sich selbst zurück liefert und behält ihren vorherigen Zustand</a:t>
            </a: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de-DE" sz="2400" dirty="0"/>
              <a:t>Datenstrukturen </a:t>
            </a:r>
            <a:r>
              <a:rPr lang="de-DE" dirty="0"/>
              <a:t>können sie sich im Speicher vorgehaltene Werte teilen</a:t>
            </a:r>
            <a:endParaRPr lang="de-DE" sz="2400" dirty="0"/>
          </a:p>
          <a:p>
            <a:pPr marL="216000" indent="-216000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endParaRPr lang="en-US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7237" y="4973638"/>
            <a:ext cx="2476500" cy="81915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1235" y="5002213"/>
            <a:ext cx="2476500" cy="381000"/>
          </a:xfrm>
          <a:prstGeom prst="rect">
            <a:avLst/>
          </a:prstGeom>
        </p:spPr>
      </p:pic>
      <p:sp>
        <p:nvSpPr>
          <p:cNvPr id="8" name="Pfeil: nach rechts 7"/>
          <p:cNvSpPr/>
          <p:nvPr/>
        </p:nvSpPr>
        <p:spPr bwMode="gray">
          <a:xfrm>
            <a:off x="4194494" y="4939271"/>
            <a:ext cx="935984" cy="649288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562125" y="2905163"/>
            <a:ext cx="8410425" cy="1015663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&lt;Integer&gt; list1 =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.</a:t>
            </a:r>
            <a:r>
              <a:rPr kumimoji="0" lang="de-DE" altLang="de-DE" sz="2000" b="0" i="1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&lt;Integer&gt; list2 = list1.replace(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975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16:9 2015 INT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chemeClr val="tx1"/>
          </a:buClr>
          <a:buSzPct val="75000"/>
          <a:defRPr sz="1800" dirty="0" err="1" smtClean="0">
            <a:ea typeface="Swagger" pitchFamily="2" charset="0"/>
          </a:defRPr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zu9_Chartpool_20150608.pptx" id="{B1452720-7520-4D9E-B9ED-20AEF7CACA91}" vid="{0A44F166-3C81-41C7-882D-66DB7ABEEA43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_MASTER_16-9_EN_20150828</Template>
  <TotalTime>0</TotalTime>
  <Words>1242</Words>
  <Application>Microsoft Office PowerPoint</Application>
  <PresentationFormat>Benutzerdefiniert</PresentationFormat>
  <Paragraphs>277</Paragraphs>
  <Slides>39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9</vt:i4>
      </vt:variant>
    </vt:vector>
  </HeadingPairs>
  <TitlesOfParts>
    <vt:vector size="52" baseType="lpstr">
      <vt:lpstr>Arial Unicode MS</vt:lpstr>
      <vt:lpstr>Arial</vt:lpstr>
      <vt:lpstr>Courier New</vt:lpstr>
      <vt:lpstr>Swagger</vt:lpstr>
      <vt:lpstr>TeleGrotesk Headline</vt:lpstr>
      <vt:lpstr>TeleGrotesk Headline Ultra</vt:lpstr>
      <vt:lpstr>Tele-GroteskFet</vt:lpstr>
      <vt:lpstr>Tele-GroteskNor</vt:lpstr>
      <vt:lpstr>Tele-GroteskUlt</vt:lpstr>
      <vt:lpstr>Wingdings</vt:lpstr>
      <vt:lpstr>Wingdings 2</vt:lpstr>
      <vt:lpstr>Telekom 16:9 2015 INT</vt:lpstr>
      <vt:lpstr>think-cell Folie</vt:lpstr>
      <vt:lpstr>Funktionale programmierung mit Vavr und Resilience4j </vt:lpstr>
      <vt:lpstr>Über mich</vt:lpstr>
      <vt:lpstr>WAS macht Funktionale programmierung aus?</vt:lpstr>
      <vt:lpstr>Komposition von FUNKTIONEN</vt:lpstr>
      <vt:lpstr>Was sind FUNKTIONEN höherer ORDNUNG?</vt:lpstr>
      <vt:lpstr>WAS ist Referentielle Transparenz? </vt:lpstr>
      <vt:lpstr>(PURE) Funktionen ohne Seiteneffekte</vt:lpstr>
      <vt:lpstr>Imperativ vs funktional: Seperation of CONCERNS</vt:lpstr>
      <vt:lpstr>Was sind persistente Datenstrukturen?</vt:lpstr>
      <vt:lpstr>Funktionale PROGRAMMIERUNG mit JAVA 8</vt:lpstr>
      <vt:lpstr>JAVASLANG IST nun VAVR</vt:lpstr>
      <vt:lpstr>Was ist VAVR?</vt:lpstr>
      <vt:lpstr>VAVR: persistente Datenstrukturen</vt:lpstr>
      <vt:lpstr>VAVR: persistente Datenstrukturen</vt:lpstr>
      <vt:lpstr>VAVR: persistente Datenstrukturen</vt:lpstr>
      <vt:lpstr>VAVR: Currying </vt:lpstr>
      <vt:lpstr>VAVR: Memoization  </vt:lpstr>
      <vt:lpstr>VAVR: Lifting   </vt:lpstr>
      <vt:lpstr>VAVR: Algebraische Datentypen    </vt:lpstr>
      <vt:lpstr>VAVR: TUPLES   </vt:lpstr>
      <vt:lpstr>VAVR: Option   </vt:lpstr>
      <vt:lpstr>VAVR: Try   </vt:lpstr>
      <vt:lpstr>VAVR: EITHER   </vt:lpstr>
      <vt:lpstr>VAVR: Lazy   </vt:lpstr>
      <vt:lpstr>VAVR: PATTERN MATCHING   </vt:lpstr>
      <vt:lpstr>Was ist Resilience4j?</vt:lpstr>
      <vt:lpstr>Resilience4j: CIRCUITBREAKER</vt:lpstr>
      <vt:lpstr>Resilience4j: CIRCUITBREAKER</vt:lpstr>
      <vt:lpstr>Resilience4j: FUNKTION höherer ORDNUNG</vt:lpstr>
      <vt:lpstr>Resilience4j: CIRCUITBREAKER METRICS</vt:lpstr>
      <vt:lpstr>Resilience4j: CIRCUITBREAKER EVENTS</vt:lpstr>
      <vt:lpstr>Resilience4j: CIRCUITBREAKER RXjava2</vt:lpstr>
      <vt:lpstr>Resilience4j: RETRY</vt:lpstr>
      <vt:lpstr>Resilience4j: Ratelimiter</vt:lpstr>
      <vt:lpstr>Resilience4j: Ratelimiter</vt:lpstr>
      <vt:lpstr>Resilience4j: BULKHEAD</vt:lpstr>
      <vt:lpstr>Resilience4j: TIMER</vt:lpstr>
      <vt:lpstr>Resilience4j: Spring Boot</vt:lpstr>
      <vt:lpstr>PowerPoint-Präsentation</vt:lpstr>
    </vt:vector>
  </TitlesOfParts>
  <Company>Detecon International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kom Powerpoint Master Format 16:9</dc:title>
  <dc:creator>dtc102415</dc:creator>
  <cp:lastModifiedBy>Winkler, Robert</cp:lastModifiedBy>
  <cp:revision>397</cp:revision>
  <dcterms:created xsi:type="dcterms:W3CDTF">2016-08-19T15:43:19Z</dcterms:created>
  <dcterms:modified xsi:type="dcterms:W3CDTF">2017-06-13T12:53:41Z</dcterms:modified>
</cp:coreProperties>
</file>